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85" r:id="rId2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rray, Rebecca" initials="MR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92" d="100"/>
          <a:sy n="92" d="100"/>
        </p:scale>
        <p:origin x="-546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3D8BB0-E070-4D2A-9F9D-1C53DA69C4D4}" type="datetimeFigureOut">
              <a:rPr lang="en-GB" smtClean="0"/>
              <a:t>18/07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AD0835-4D8F-4D74-A197-6B3667596B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573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4976E-3E97-4431-AA0E-54184CC7CD2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320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141" y="947520"/>
            <a:ext cx="2314409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674177"/>
            <a:ext cx="2934117" cy="52013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444058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27258" y="6444058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9151373" y="6444058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621915" y="6444058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22" y="3704884"/>
            <a:ext cx="10861521" cy="774216"/>
          </a:xfrm>
        </p:spPr>
        <p:txBody>
          <a:bodyPr lIns="0" rIns="0" anchor="b">
            <a:noAutofit/>
          </a:bodyPr>
          <a:lstStyle>
            <a:lvl1pPr algn="l">
              <a:lnSpc>
                <a:spcPct val="100000"/>
              </a:lnSpc>
              <a:defRPr sz="3000" spc="-2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577048"/>
            <a:ext cx="6315584" cy="325152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53002"/>
            <a:ext cx="6315584" cy="29845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6"/>
            <a:ext cx="6315584" cy="29210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97203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9" y="204844"/>
            <a:ext cx="1147424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664025"/>
            <a:ext cx="11481367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676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11474248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7" y="1977243"/>
            <a:ext cx="1147808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1148136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615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11474248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1148136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136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5" y="1032010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5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10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5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66852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925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91004" y="1433888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3067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5145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1004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074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10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10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226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8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519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51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9" y="2659261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1" y="2659261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659261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2" y="857365"/>
            <a:ext cx="9265003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86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9265003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18" y="1920549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18" y="3181472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18" y="4466747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41" y="1857049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41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41" y="4403210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1361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1232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348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74"/>
            <a:ext cx="11247907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518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4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27258" y="4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151373" y="4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621915" y="4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633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3E704-F213-432D-BB6E-F1DED02B8CA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264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4" y="186902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7117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45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324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3048815"/>
            <a:ext cx="11474248" cy="760372"/>
          </a:xfr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552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2747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4236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335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76707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9" y="204844"/>
            <a:ext cx="1147424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1147999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979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76707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9" y="204844"/>
            <a:ext cx="1147424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1147999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642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24" imgW="471" imgH="472" progId="TCLayout.ActiveDocument.1">
                  <p:embed/>
                </p:oleObj>
              </mc:Choice>
              <mc:Fallback>
                <p:oleObj name="think-cell Slide" r:id="rId24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31"/>
            <a:ext cx="11474248" cy="7603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25" y="1854339"/>
            <a:ext cx="11476705" cy="4281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5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8580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888" y="6459799"/>
            <a:ext cx="1314047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800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i="0" kern="1200" spc="-20" baseline="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81" y="55935"/>
            <a:ext cx="1059974" cy="1001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386" y="16071"/>
            <a:ext cx="2090737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673" y="191937"/>
            <a:ext cx="8012054" cy="569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ts val="2400"/>
              </a:lnSpc>
              <a:defRPr/>
            </a:pPr>
            <a:r>
              <a:rPr lang="en-US" sz="2800" b="1" dirty="0">
                <a:latin typeface="+mj-lt"/>
                <a:ea typeface="ＭＳ Ｐゴシック" pitchFamily="34" charset="-128"/>
                <a:cs typeface="+mj-cs"/>
              </a:rPr>
              <a:t>Women in Finance Charter - 2018</a:t>
            </a:r>
            <a:endParaRPr lang="en-US" sz="2800" b="1" kern="0" dirty="0">
              <a:latin typeface="+mj-lt"/>
              <a:ea typeface="ＭＳ Ｐゴシック" charset="-128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767318" y="3782962"/>
            <a:ext cx="5035947" cy="369332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>
              <a:defRPr/>
            </a:pPr>
            <a:r>
              <a:rPr lang="en-GB" dirty="0"/>
              <a:t>DEVELOP              ENGAGE                HIRE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2233593" y="1057767"/>
            <a:ext cx="1400175" cy="177909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en-GB" sz="800" b="1" u="sng" dirty="0"/>
              <a:t>2018 Tar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/>
              <a:t>Female representation for every role adverti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/>
              <a:t>100% unbiased resourcing practices including equal opportunities, gender mixed agencies, mix of female and male assessors, and recruitment training for hiring managers</a:t>
            </a:r>
          </a:p>
          <a:p>
            <a:endParaRPr lang="en-GB" sz="800" dirty="0"/>
          </a:p>
          <a:p>
            <a:endParaRPr lang="en-GB" sz="800" dirty="0">
              <a:solidFill>
                <a:srgbClr val="FF0000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799" y="1057080"/>
            <a:ext cx="3356354" cy="1779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>
            <a:spLocks/>
          </p:cNvSpPr>
          <p:nvPr/>
        </p:nvSpPr>
        <p:spPr>
          <a:xfrm>
            <a:off x="2233596" y="2964745"/>
            <a:ext cx="1400175" cy="176770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GB" sz="800" b="1" u="sng" dirty="0"/>
              <a:t>2018 Tar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/>
              <a:t>Target of 50/50 split of male and female employees within the UK Bran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/>
              <a:t>Target of 50% female leaders and GG13 and above within the UK Bran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800" dirty="0"/>
          </a:p>
          <a:p>
            <a:endParaRPr lang="en-GB" sz="800" dirty="0"/>
          </a:p>
          <a:p>
            <a:endParaRPr lang="en-GB" sz="8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233594" y="4850347"/>
            <a:ext cx="1400175" cy="176770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GB" sz="800" b="1" u="sng" dirty="0"/>
              <a:t>2018 Targe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rget 50% women in Exec-1 Accelerate and Progression Tal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rget of 50/50 split of male/female attendance at developmental events and training</a:t>
            </a:r>
          </a:p>
          <a:p>
            <a:endParaRPr lang="en-GB" sz="800" dirty="0"/>
          </a:p>
          <a:p>
            <a:endParaRPr lang="en-GB" sz="800" dirty="0"/>
          </a:p>
          <a:p>
            <a:endParaRPr lang="en-GB" sz="800" dirty="0">
              <a:solidFill>
                <a:srgbClr val="FF0000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752" y="1057767"/>
            <a:ext cx="3330059" cy="1779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799" y="2964745"/>
            <a:ext cx="3357324" cy="1767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799" y="4872520"/>
            <a:ext cx="3357324" cy="175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91D983B8-EC37-4756-86CE-1CCF2E8DAB4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57131" y="2953356"/>
            <a:ext cx="3337767" cy="1779093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DA09FA90-1598-46E4-8900-ECD634F5DCB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47752" y="4850347"/>
            <a:ext cx="3347145" cy="177909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233596" y="761849"/>
            <a:ext cx="1400172" cy="206980"/>
          </a:xfrm>
          <a:prstGeom prst="rect">
            <a:avLst/>
          </a:prstGeom>
          <a:noFill/>
        </p:spPr>
        <p:txBody>
          <a:bodyPr wrap="square" lIns="91440" tIns="0" rIns="91440" bIns="0" rtlCol="0">
            <a:noAutofit/>
          </a:bodyPr>
          <a:lstStyle/>
          <a:p>
            <a:r>
              <a:rPr lang="en-GB" dirty="0" smtClean="0"/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86168" y="761849"/>
            <a:ext cx="1400172" cy="206980"/>
          </a:xfrm>
          <a:prstGeom prst="rect">
            <a:avLst/>
          </a:prstGeom>
          <a:noFill/>
        </p:spPr>
        <p:txBody>
          <a:bodyPr wrap="square" lIns="91440" tIns="0" rIns="91440" bIns="0" rtlCol="0">
            <a:noAutofit/>
          </a:bodyPr>
          <a:lstStyle/>
          <a:p>
            <a:r>
              <a:rPr lang="en-GB" dirty="0" smtClean="0"/>
              <a:t>RESULTS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373732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Theme">
  <a:themeElements>
    <a:clrScheme name="MetLife v2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MetLife v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6</TotalTime>
  <Words>100</Words>
  <Application>Microsoft Office PowerPoint</Application>
  <PresentationFormat>Custom</PresentationFormat>
  <Paragraphs>16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_Default Theme</vt:lpstr>
      <vt:lpstr>think-cell Slide</vt:lpstr>
      <vt:lpstr>PowerPoint Presentation</vt:lpstr>
    </vt:vector>
  </TitlesOfParts>
  <Company>Meteurop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K Executive Committee</dc:title>
  <dc:creator>Murray, Rebecca</dc:creator>
  <cp:lastModifiedBy>Parmar, Dipesh</cp:lastModifiedBy>
  <cp:revision>67</cp:revision>
  <cp:lastPrinted>2017-05-31T14:45:42Z</cp:lastPrinted>
  <dcterms:created xsi:type="dcterms:W3CDTF">2017-05-04T11:43:40Z</dcterms:created>
  <dcterms:modified xsi:type="dcterms:W3CDTF">2019-07-18T13:15:45Z</dcterms:modified>
</cp:coreProperties>
</file>